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23"/>
  </p:notesMasterIdLst>
  <p:handoutMasterIdLst>
    <p:handoutMasterId r:id="rId24"/>
  </p:handoutMasterIdLst>
  <p:sldIdLst>
    <p:sldId id="286" r:id="rId6"/>
    <p:sldId id="300" r:id="rId7"/>
    <p:sldId id="330" r:id="rId8"/>
    <p:sldId id="303" r:id="rId9"/>
    <p:sldId id="332" r:id="rId10"/>
    <p:sldId id="331" r:id="rId11"/>
    <p:sldId id="333" r:id="rId12"/>
    <p:sldId id="306" r:id="rId13"/>
    <p:sldId id="334" r:id="rId14"/>
    <p:sldId id="336" r:id="rId15"/>
    <p:sldId id="337" r:id="rId16"/>
    <p:sldId id="338" r:id="rId17"/>
    <p:sldId id="339" r:id="rId18"/>
    <p:sldId id="341" r:id="rId19"/>
    <p:sldId id="342" r:id="rId20"/>
    <p:sldId id="343" r:id="rId21"/>
    <p:sldId id="324" r:id="rId22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34561" autoAdjust="0"/>
    <p:restoredTop sz="86421" autoAdjust="0"/>
  </p:normalViewPr>
  <p:slideViewPr>
    <p:cSldViewPr snapToGrid="0" snapToObjects="1">
      <p:cViewPr>
        <p:scale>
          <a:sx n="140" d="100"/>
          <a:sy n="140" d="100"/>
        </p:scale>
        <p:origin x="-6" y="6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-221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12.1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12.1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3258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652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de-DE" sz="800" dirty="0" smtClean="0">
                <a:solidFill>
                  <a:srgbClr val="C8C8C8"/>
                </a:solidFill>
              </a:rPr>
              <a:t>03.09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localhost:8080/registrationform/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Foundations of software testing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en-US" b="0" noProof="0" dirty="0" smtClean="0"/>
              <a:t>Introduction to test automatio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348162"/>
            <a:ext cx="5232400" cy="338554"/>
          </a:xfrm>
        </p:spPr>
        <p:txBody>
          <a:bodyPr/>
          <a:lstStyle/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21.08.201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pening and verifying page status before the tes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Before the test is started we need to request the tested pag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o</a:t>
            </a:r>
            <a:r>
              <a:rPr lang="en-US" altLang="de-DE" b="1" noProof="0" dirty="0" smtClean="0"/>
              <a:t>pen</a:t>
            </a:r>
            <a:r>
              <a:rPr lang="en-US" altLang="de-DE" noProof="0" dirty="0" smtClean="0"/>
              <a:t> command opens </a:t>
            </a:r>
            <a:r>
              <a:rPr lang="en-US" altLang="de-DE" noProof="0" dirty="0" err="1" smtClean="0"/>
              <a:t>url</a:t>
            </a:r>
            <a:r>
              <a:rPr lang="en-US" altLang="de-DE" noProof="0" dirty="0" smtClean="0"/>
              <a:t> that is specified in the target sec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ven Selenium IDE will warn us in case of response with 4xx or 5xx codes, it is a good practice to check if requested page was actually opene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erifyTitle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an be used if page title is the same as value specified in the target field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4" y="1123481"/>
            <a:ext cx="3500926" cy="335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1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yping text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ne of the typical interaction is inserting texts into form field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type</a:t>
            </a:r>
            <a:r>
              <a:rPr lang="en-US" altLang="de-DE" noProof="0" dirty="0" smtClean="0"/>
              <a:t> command insert value text into input field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put field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</a:t>
            </a:r>
            <a:r>
              <a:rPr lang="en-US" altLang="de-DE" noProof="0" dirty="0" smtClean="0"/>
              <a:t>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r>
              <a:rPr lang="en-US" altLang="de-DE" noProof="0" dirty="0" smtClean="0"/>
              <a:t> path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path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Exaple</a:t>
            </a:r>
            <a:r>
              <a:rPr lang="en-US" altLang="de-DE" noProof="0" dirty="0" smtClean="0"/>
              <a:t> target propertie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</a:t>
            </a:r>
            <a:r>
              <a:rPr lang="en-US" altLang="de-DE" noProof="0" dirty="0" smtClean="0"/>
              <a:t>ame=</a:t>
            </a:r>
            <a:r>
              <a:rPr lang="en-US" altLang="de-DE" noProof="0" dirty="0" err="1" smtClean="0"/>
              <a:t>firstName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r>
              <a:rPr lang="en-US" altLang="de-DE" noProof="0" dirty="0" smtClean="0"/>
              <a:t>=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=//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23715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5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ing on 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elenium allows for clicking on check, radio and regular buttons as well as link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click </a:t>
            </a:r>
            <a:r>
              <a:rPr lang="en-US" altLang="de-DE" noProof="0" dirty="0" smtClean="0"/>
              <a:t> command simulates left click on the element specified in the target property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</a:t>
            </a:r>
            <a:r>
              <a:rPr lang="en-US" altLang="de-DE" noProof="0" dirty="0" smtClean="0"/>
              <a:t>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</a:t>
            </a:r>
            <a:r>
              <a:rPr lang="en-US" altLang="de-DE" noProof="0" dirty="0" err="1" smtClean="0"/>
              <a:t>path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linkText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3169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82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Verifying texts and presence of element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t some point in test it is required to check if performer actions like submittin</a:t>
            </a:r>
            <a:r>
              <a:rPr lang="en-US" altLang="de-DE" noProof="0" dirty="0" smtClean="0"/>
              <a:t>g the form results in correct change of application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</a:t>
            </a:r>
            <a:r>
              <a:rPr lang="en-US" altLang="de-DE" b="1" noProof="0" dirty="0" err="1" smtClean="0"/>
              <a:t>erifyText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hecks if text of the value property is visible in the element specified by selector in target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err="1" smtClean="0"/>
              <a:t>verifyElementPresent</a:t>
            </a:r>
            <a:r>
              <a:rPr lang="en-US" altLang="de-DE" b="1" noProof="0" dirty="0" smtClean="0"/>
              <a:t> </a:t>
            </a:r>
            <a:r>
              <a:rPr lang="en-US" altLang="de-DE" noProof="0" dirty="0" smtClean="0"/>
              <a:t>command checks element specified by selector in target property exists in the DOM tree</a:t>
            </a:r>
            <a:endParaRPr lang="en-US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Elements can be selected based 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</a:t>
            </a:r>
            <a:r>
              <a:rPr lang="en-US" altLang="de-DE" noProof="0" dirty="0" smtClean="0"/>
              <a:t>d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a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css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</a:t>
            </a:r>
            <a:r>
              <a:rPr lang="en-US" altLang="de-DE" noProof="0" dirty="0" err="1" smtClean="0"/>
              <a:t>path</a:t>
            </a:r>
            <a:endParaRPr lang="en-US" altLang="de-DE" noProof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linkText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9993" y="1119187"/>
            <a:ext cx="3500926" cy="335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71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Using variables and JavaScript 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JavaScript can be used at various places to perform more actions that are not available via standard Selenium IDE command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ne of the option is storing values generated by JavaScript code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</a:t>
            </a:r>
            <a:r>
              <a:rPr lang="en-US" altLang="de-DE" noProof="0" dirty="0" smtClean="0"/>
              <a:t>tore command can be used to store value in the variable under name specified in the value property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tored variable can be later used by ${</a:t>
            </a:r>
            <a:r>
              <a:rPr lang="en-US" altLang="de-DE" noProof="0" dirty="0" err="1" smtClean="0"/>
              <a:t>varName</a:t>
            </a:r>
            <a:r>
              <a:rPr lang="en-US" altLang="de-DE" noProof="0" dirty="0" smtClean="0"/>
              <a:t>} statement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6346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1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aiting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ometimes performing action requires some time and test needs to wait until application finish the task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b="1" noProof="0" dirty="0" smtClean="0"/>
              <a:t>pause </a:t>
            </a:r>
            <a:r>
              <a:rPr lang="en-US" altLang="de-DE" noProof="0" dirty="0" smtClean="0"/>
              <a:t>command can be used to wait specified amount of tim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v</a:t>
            </a:r>
            <a:r>
              <a:rPr lang="en-US" altLang="de-DE" noProof="0" dirty="0" err="1" smtClean="0"/>
              <a:t>arius</a:t>
            </a:r>
            <a:r>
              <a:rPr lang="en-US" altLang="de-DE" noProof="0" dirty="0" smtClean="0"/>
              <a:t> </a:t>
            </a:r>
            <a:r>
              <a:rPr lang="en-US" altLang="de-DE" noProof="0" dirty="0" err="1" smtClean="0"/>
              <a:t>waitForXXX</a:t>
            </a:r>
            <a:r>
              <a:rPr lang="en-US" altLang="de-DE" noProof="0" dirty="0" smtClean="0"/>
              <a:t> commands can be used in order to wait for an even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51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stall Selenium IDE add on</a:t>
            </a:r>
            <a:endParaRPr lang="pl-PL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reate</a:t>
            </a:r>
            <a:r>
              <a:rPr lang="pl-PL" altLang="de-DE" dirty="0" smtClean="0"/>
              <a:t> one test </a:t>
            </a:r>
            <a:r>
              <a:rPr lang="pl-PL" altLang="de-DE" dirty="0" err="1" smtClean="0"/>
              <a:t>suite</a:t>
            </a:r>
            <a:endParaRPr lang="en-US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Record tests that will check if application behavior is correct when correct and incorrect answers are submitted.</a:t>
            </a:r>
            <a:endParaRPr lang="pl-PL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Modify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tests</a:t>
            </a:r>
            <a:r>
              <a:rPr lang="pl-PL" altLang="de-DE" dirty="0" smtClean="0"/>
              <a:t> in order to run </a:t>
            </a:r>
            <a:r>
              <a:rPr lang="pl-PL" altLang="de-DE" dirty="0" err="1" smtClean="0"/>
              <a:t>them</a:t>
            </a:r>
            <a:r>
              <a:rPr lang="pl-PL" altLang="de-DE" dirty="0" smtClean="0"/>
              <a:t> on </a:t>
            </a:r>
            <a:r>
              <a:rPr lang="pl-PL" altLang="de-DE" dirty="0" err="1" smtClean="0"/>
              <a:t>demand</a:t>
            </a:r>
            <a:endParaRPr lang="pl-PL" altLang="de-DE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noProof="0" dirty="0" err="1" smtClean="0"/>
              <a:t>Store</a:t>
            </a:r>
            <a:r>
              <a:rPr lang="pl-PL" altLang="de-DE" noProof="0" dirty="0" smtClean="0"/>
              <a:t> </a:t>
            </a:r>
            <a:r>
              <a:rPr lang="pl-PL" altLang="de-DE" noProof="0" smtClean="0"/>
              <a:t>tests </a:t>
            </a:r>
            <a:r>
              <a:rPr lang="pl-PL" altLang="de-DE" noProof="0" dirty="0" smtClean="0"/>
              <a:t>in the </a:t>
            </a:r>
            <a:r>
              <a:rPr lang="pl-PL" altLang="de-DE" noProof="0" dirty="0" err="1" smtClean="0"/>
              <a:t>repository</a:t>
            </a: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6817" y="1119187"/>
            <a:ext cx="3500926" cy="3367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4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677108"/>
          </a:xfrm>
        </p:spPr>
        <p:txBody>
          <a:bodyPr/>
          <a:lstStyle/>
          <a:p>
            <a:r>
              <a:rPr lang="en-US" noProof="0" dirty="0" smtClean="0"/>
              <a:t>GFT</a:t>
            </a:r>
          </a:p>
          <a:p>
            <a:r>
              <a:rPr lang="en-US" noProof="0" dirty="0" smtClean="0"/>
              <a:t>Jacek Okrojek</a:t>
            </a:r>
          </a:p>
          <a:p>
            <a:r>
              <a:rPr lang="en-US" noProof="0" dirty="0" smtClean="0"/>
              <a:t>Email: Jacek.okrojek</a:t>
            </a:r>
            <a:r>
              <a:rPr lang="en-US" noProof="0" dirty="0" smtClean="0"/>
              <a:t>@gft.com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1588"/>
            <a:r>
              <a:rPr lang="en-US" noProof="0" dirty="0" smtClean="0"/>
              <a:t>AGENDA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60000"/>
            <a:r>
              <a:rPr lang="en-US" noProof="0" dirty="0" smtClean="0"/>
              <a:t>General information</a:t>
            </a:r>
          </a:p>
          <a:p>
            <a:pPr marL="360000"/>
            <a:r>
              <a:rPr lang="en-US" noProof="0" dirty="0" smtClean="0"/>
              <a:t>Testing Web applications</a:t>
            </a:r>
          </a:p>
          <a:p>
            <a:pPr marL="360000"/>
            <a:r>
              <a:rPr lang="en-US" noProof="0" dirty="0" smtClean="0"/>
              <a:t>Selenium IDE</a:t>
            </a:r>
          </a:p>
          <a:p>
            <a:pPr marL="0" indent="0"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318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bjective of test automation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55474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 smtClean="0"/>
              <a:t>Automate frequently executed tests</a:t>
            </a:r>
          </a:p>
          <a:p>
            <a:pPr lvl="1"/>
            <a:r>
              <a:rPr lang="en-US" noProof="0" dirty="0" smtClean="0"/>
              <a:t>Smoke tests</a:t>
            </a:r>
            <a:r>
              <a:rPr lang="en-US" noProof="0" dirty="0" smtClean="0"/>
              <a:t> – smoke test should be executed after each build to ensure that application is stable enough for testing</a:t>
            </a:r>
            <a:endParaRPr lang="en-US" noProof="0" dirty="0" smtClean="0"/>
          </a:p>
          <a:p>
            <a:pPr lvl="1"/>
            <a:r>
              <a:rPr lang="en-US" noProof="0" dirty="0" smtClean="0"/>
              <a:t>R</a:t>
            </a:r>
            <a:r>
              <a:rPr lang="en-US" noProof="0" dirty="0" smtClean="0"/>
              <a:t>egression test – ensuring that old functions were not negatively affected by new feature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Increase</a:t>
            </a:r>
            <a:r>
              <a:rPr lang="en-US" noProof="0" dirty="0" smtClean="0"/>
              <a:t> test coverage</a:t>
            </a:r>
          </a:p>
          <a:p>
            <a:pPr lvl="1"/>
            <a:r>
              <a:rPr lang="en-US" altLang="de-DE" noProof="0" dirty="0" smtClean="0"/>
              <a:t>Execution of tests that are difficult </a:t>
            </a:r>
            <a:r>
              <a:rPr lang="en-US" altLang="de-DE" noProof="0" dirty="0" smtClean="0"/>
              <a:t>or impossible to perform </a:t>
            </a:r>
            <a:r>
              <a:rPr lang="en-US" altLang="de-DE" noProof="0" dirty="0" smtClean="0"/>
              <a:t>manually (typically this applies to performance, security)</a:t>
            </a:r>
          </a:p>
          <a:p>
            <a:pPr lvl="1"/>
            <a:r>
              <a:rPr lang="en-US" altLang="de-DE" noProof="0" dirty="0" smtClean="0"/>
              <a:t>Execution much bigger number for test cases</a:t>
            </a:r>
          </a:p>
          <a:p>
            <a:pPr marL="0" indent="0">
              <a:buNone/>
            </a:pPr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neral informatio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6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Testing pyramid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2618396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0" noProof="0" dirty="0" smtClean="0"/>
              <a:t>Testing pyramid represents proportion between various levels of test</a:t>
            </a:r>
          </a:p>
          <a:p>
            <a:pPr lvl="1"/>
            <a:r>
              <a:rPr lang="en-US" noProof="0" dirty="0" smtClean="0"/>
              <a:t>Applies to automated and manual tests</a:t>
            </a:r>
          </a:p>
          <a:p>
            <a:pPr lvl="1"/>
            <a:r>
              <a:rPr lang="en-US" noProof="0" dirty="0" smtClean="0"/>
              <a:t>Guideline for efficient testing</a:t>
            </a:r>
          </a:p>
          <a:p>
            <a:pPr lvl="1"/>
            <a:r>
              <a:rPr lang="en-US" noProof="0" dirty="0" smtClean="0"/>
              <a:t>Reduce time spend on creation and maintenance</a:t>
            </a:r>
            <a:endParaRPr lang="en-US" altLang="de-DE" noProof="0" dirty="0" smtClean="0"/>
          </a:p>
          <a:p>
            <a:pPr lvl="1"/>
            <a:endParaRPr lang="en-US" altLang="de-DE" noProof="0" dirty="0" smtClean="0"/>
          </a:p>
          <a:p>
            <a:endParaRPr lang="en-US" altLang="de-DE" b="0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General information</a:t>
            </a:r>
            <a:endParaRPr lang="en-US" noProof="0" dirty="0"/>
          </a:p>
        </p:txBody>
      </p:sp>
      <p:sp>
        <p:nvSpPr>
          <p:cNvPr id="8" name="Isosceles Triangle 2"/>
          <p:cNvSpPr/>
          <p:nvPr/>
        </p:nvSpPr>
        <p:spPr bwMode="auto">
          <a:xfrm>
            <a:off x="3056546" y="1021962"/>
            <a:ext cx="3630440" cy="3129690"/>
          </a:xfrm>
          <a:prstGeom prst="triangl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9" name="Straight Connector 10"/>
          <p:cNvCxnSpPr/>
          <p:nvPr/>
        </p:nvCxnSpPr>
        <p:spPr bwMode="auto">
          <a:xfrm>
            <a:off x="4215627" y="2235126"/>
            <a:ext cx="131812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11"/>
          <p:cNvCxnSpPr/>
          <p:nvPr/>
        </p:nvCxnSpPr>
        <p:spPr bwMode="auto">
          <a:xfrm>
            <a:off x="3608107" y="3254402"/>
            <a:ext cx="2516801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18"/>
          <p:cNvCxnSpPr/>
          <p:nvPr/>
        </p:nvCxnSpPr>
        <p:spPr bwMode="auto">
          <a:xfrm>
            <a:off x="5615931" y="2230248"/>
            <a:ext cx="307769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Straight Connector 20"/>
          <p:cNvCxnSpPr/>
          <p:nvPr/>
        </p:nvCxnSpPr>
        <p:spPr bwMode="auto">
          <a:xfrm>
            <a:off x="6227617" y="3254402"/>
            <a:ext cx="246600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Box 22"/>
          <p:cNvSpPr txBox="1"/>
          <p:nvPr/>
        </p:nvSpPr>
        <p:spPr bwMode="auto">
          <a:xfrm>
            <a:off x="4477886" y="1707488"/>
            <a:ext cx="81462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4" name="TextBox 23"/>
          <p:cNvSpPr txBox="1"/>
          <p:nvPr/>
        </p:nvSpPr>
        <p:spPr bwMode="auto">
          <a:xfrm>
            <a:off x="4312361" y="2583989"/>
            <a:ext cx="114567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Integration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5" name="TextBox 24"/>
          <p:cNvSpPr txBox="1"/>
          <p:nvPr/>
        </p:nvSpPr>
        <p:spPr bwMode="auto">
          <a:xfrm>
            <a:off x="4342940" y="3601697"/>
            <a:ext cx="114567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6" name="TextBox 25"/>
          <p:cNvSpPr txBox="1"/>
          <p:nvPr/>
        </p:nvSpPr>
        <p:spPr bwMode="auto">
          <a:xfrm>
            <a:off x="5812432" y="1702601"/>
            <a:ext cx="45073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Performed on fully integrated system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7" name="TextBox 26"/>
          <p:cNvSpPr txBox="1"/>
          <p:nvPr/>
        </p:nvSpPr>
        <p:spPr bwMode="auto">
          <a:xfrm>
            <a:off x="7460620" y="3485845"/>
            <a:ext cx="2835121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Performed on a </a:t>
            </a:r>
            <a:endParaRPr lang="pl-PL" sz="1400" dirty="0" smtClean="0">
              <a:solidFill>
                <a:schemeClr val="accent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ingle unit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8" name="TextBox 27"/>
          <p:cNvSpPr txBox="1"/>
          <p:nvPr/>
        </p:nvSpPr>
        <p:spPr bwMode="auto">
          <a:xfrm>
            <a:off x="6591868" y="2528407"/>
            <a:ext cx="3337874" cy="45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Well... everything </a:t>
            </a:r>
            <a:r>
              <a:rPr lang="pl-PL" sz="1400" dirty="0" err="1" smtClean="0">
                <a:solidFill>
                  <a:schemeClr val="accent1"/>
                </a:solidFill>
              </a:rPr>
              <a:t>between</a:t>
            </a:r>
            <a:r>
              <a:rPr lang="pl-PL" sz="1400" dirty="0" smtClean="0">
                <a:solidFill>
                  <a:schemeClr val="accent1"/>
                </a:solidFill>
              </a:rPr>
              <a:t> </a:t>
            </a:r>
            <a:endParaRPr lang="pl-PL" sz="1400" dirty="0" smtClean="0">
              <a:solidFill>
                <a:schemeClr val="accent1"/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pl-PL" sz="1400" dirty="0" smtClean="0">
                <a:solidFill>
                  <a:schemeClr val="accent1"/>
                </a:solidFill>
              </a:rPr>
              <a:t>system </a:t>
            </a:r>
            <a:r>
              <a:rPr lang="pl-PL" sz="1400" dirty="0" smtClean="0">
                <a:solidFill>
                  <a:schemeClr val="accent1"/>
                </a:solidFill>
              </a:rPr>
              <a:t>and unit tests</a:t>
            </a:r>
            <a:endParaRPr lang="en-GB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18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eracting with web applica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 order to interact with web application (get or set texts and perform other actions) we need to have technology that allows for selecting element for interaction, typically we can use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HTML tag elements like id, name or link text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CSS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XPATH selector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mage recognition</a:t>
            </a:r>
          </a:p>
          <a:p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271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SS selector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otation that allows for selecting HT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.</a:t>
            </a:r>
            <a:r>
              <a:rPr lang="en-US" altLang="de-DE" noProof="0" dirty="0" err="1" smtClean="0"/>
              <a:t>rf</a:t>
            </a:r>
            <a:r>
              <a:rPr lang="en-US" altLang="de-DE" noProof="0" dirty="0" smtClean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d</a:t>
            </a:r>
            <a:r>
              <a:rPr lang="en-US" altLang="de-DE" noProof="0" dirty="0" err="1" smtClean="0"/>
              <a:t>iv.rf</a:t>
            </a:r>
            <a:r>
              <a:rPr lang="en-US" altLang="de-DE" noProof="0" dirty="0" smtClean="0"/>
              <a:t>-logo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div.control</a:t>
            </a:r>
            <a:r>
              <a:rPr lang="en-US" altLang="de-DE" noProof="0" dirty="0" smtClean="0"/>
              <a:t>-group input[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lvl="1"/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</a:p>
          <a:p>
            <a:pPr marL="0" indent="0" defTabSz="179388">
              <a:spcBef>
                <a:spcPts val="0"/>
              </a:spcBef>
              <a:spcAft>
                <a:spcPts val="300"/>
              </a:spcAft>
              <a:buNone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5899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XPath</a:t>
            </a:r>
            <a:r>
              <a:rPr lang="en-US" noProof="0" dirty="0" smtClean="0"/>
              <a:t> selectors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Notation that allows for selecting XML elements base on the tag names and attributes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1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2]/div/label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html/div[2]/div/input[@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//input[@name="</a:t>
            </a:r>
            <a:r>
              <a:rPr lang="en-US" altLang="de-DE" noProof="0" dirty="0" err="1" smtClean="0"/>
              <a:t>firstName</a:t>
            </a:r>
            <a:r>
              <a:rPr lang="en-US" altLang="de-DE" noProof="0" dirty="0" smtClean="0"/>
              <a:t>"]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allows us to select elements based on its index in the DOM tree</a:t>
            </a:r>
            <a:endParaRPr lang="en-US" altLang="de-DE" noProof="0" dirty="0" smtClean="0"/>
          </a:p>
          <a:p>
            <a:pPr lvl="1"/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rmAutofit fontScale="55000" lnSpcReduction="20000"/>
          </a:bodyPr>
          <a:lstStyle/>
          <a:p>
            <a:pPr marL="0" indent="0" defTabSz="179388">
              <a:buNone/>
            </a:pPr>
            <a:r>
              <a:rPr lang="en-US" noProof="0" dirty="0" smtClean="0"/>
              <a:t>&lt;html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</a:t>
            </a:r>
            <a:r>
              <a:rPr lang="en-US" noProof="0" dirty="0" err="1" smtClean="0"/>
              <a:t>rf</a:t>
            </a:r>
            <a:r>
              <a:rPr lang="en-US" noProof="0" dirty="0" smtClean="0"/>
              <a:t>-logo" &gt;Rule Financial - The Sector Specialists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fir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fir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first name using only alphabetic letters. The length required is between 1 and 2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div class="GOFRIDJCHI"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div class="control-group"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label&gt;Your last name&lt;/label&gt;</a:t>
            </a:r>
          </a:p>
          <a:p>
            <a:pPr marL="0" indent="0" defTabSz="179388">
              <a:buNone/>
            </a:pPr>
            <a:r>
              <a:rPr lang="en-US" noProof="0" dirty="0" smtClean="0"/>
              <a:t>			&lt;input class="</a:t>
            </a:r>
            <a:r>
              <a:rPr lang="en-US" noProof="0" dirty="0" err="1" smtClean="0"/>
              <a:t>gwt-TextBox</a:t>
            </a:r>
            <a:r>
              <a:rPr lang="en-US" noProof="0" dirty="0" smtClean="0"/>
              <a:t>" type="text" name="</a:t>
            </a:r>
            <a:r>
              <a:rPr lang="en-US" noProof="0" dirty="0" err="1" smtClean="0"/>
              <a:t>lastName</a:t>
            </a:r>
            <a:r>
              <a:rPr lang="en-US" noProof="0" dirty="0" smtClean="0"/>
              <a:t>"&gt;</a:t>
            </a:r>
          </a:p>
          <a:p>
            <a:pPr marL="539750" indent="0" defTabSz="179388">
              <a:buNone/>
            </a:pPr>
            <a:r>
              <a:rPr lang="en-US" noProof="0" dirty="0" smtClean="0"/>
              <a:t>&lt;div class="</a:t>
            </a:r>
            <a:r>
              <a:rPr lang="en-US" noProof="0" dirty="0" err="1" smtClean="0"/>
              <a:t>gwt</a:t>
            </a:r>
            <a:r>
              <a:rPr lang="en-US" noProof="0" dirty="0" smtClean="0"/>
              <a:t>-Label" style="display: none;" aria-hidden="true"&gt;Please provide your last name using only alphabetic letters. The length required is between 1 and 40 characters.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	&lt;/div&gt;</a:t>
            </a:r>
          </a:p>
          <a:p>
            <a:pPr marL="0" indent="0" defTabSz="179388">
              <a:buNone/>
            </a:pPr>
            <a:r>
              <a:rPr lang="en-US" noProof="0" dirty="0" smtClean="0"/>
              <a:t>&lt;/html&gt;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143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Exercise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Install following tool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refox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rebug add-on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err="1" smtClean="0"/>
              <a:t>Firepath</a:t>
            </a:r>
            <a:r>
              <a:rPr lang="en-US" altLang="de-DE" noProof="0" dirty="0" smtClean="0"/>
              <a:t> add</a:t>
            </a:r>
            <a:r>
              <a:rPr lang="en-US" altLang="de-DE" noProof="0" dirty="0" smtClean="0"/>
              <a:t>-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Download and start test applica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Open </a:t>
            </a:r>
            <a:r>
              <a:rPr lang="en-US" altLang="de-DE" noProof="0" dirty="0" smtClean="0">
                <a:hlinkClick r:id="rId2"/>
              </a:rPr>
              <a:t>http://localhost:8080/registrationform/</a:t>
            </a:r>
            <a:r>
              <a:rPr lang="en-US" altLang="de-DE" noProof="0" dirty="0" smtClean="0"/>
              <a:t> pag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Find simplest CSS and </a:t>
            </a:r>
            <a:r>
              <a:rPr lang="en-US" altLang="de-DE" noProof="0" dirty="0" err="1" smtClean="0"/>
              <a:t>XPath</a:t>
            </a:r>
            <a:r>
              <a:rPr lang="en-US" altLang="de-DE" noProof="0" dirty="0" smtClean="0"/>
              <a:t> selectors for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Java, SQL and .NET button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"I hereby agree for …" text</a:t>
            </a:r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Testing Web application</a:t>
            </a:r>
            <a:endParaRPr lang="en-US" noProof="0" dirty="0"/>
          </a:p>
        </p:txBody>
      </p:sp>
      <p:pic>
        <p:nvPicPr>
          <p:cNvPr id="9" name="Symbol zastępczy zawartości 8"/>
          <p:cNvPicPr>
            <a:picLocks noGrp="1" noChangeAspect="1"/>
          </p:cNvPicPr>
          <p:nvPr>
            <p:ph idx="14"/>
          </p:nvPr>
        </p:nvPicPr>
        <p:blipFill>
          <a:blip r:embed="rId3"/>
          <a:stretch>
            <a:fillRect/>
          </a:stretch>
        </p:blipFill>
        <p:spPr>
          <a:xfrm>
            <a:off x="5605805" y="982710"/>
            <a:ext cx="3075888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1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Introduction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Simple but powerful tool that allows for recording, modifying and replaying actions performed on the web applica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Uses simple command structur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Works on Firefox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using JavaScript cod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exporting tests to Java, .NET, Python and more languag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de-DE" noProof="0" dirty="0" smtClean="0"/>
              <a:t>Allows for extensions (there are actually many great extensions available now)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000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en-US" altLang="de-DE" sz="1000" noProof="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altLang="de-DE" sz="1000" noProof="0" dirty="0" smtClean="0"/>
              <a:t>References http://www.seleniumhq.org/docs/02_selenium_ide.jsp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de-DE" noProof="0" dirty="0" smtClean="0"/>
          </a:p>
          <a:p>
            <a:pPr marL="0" indent="0">
              <a:buNone/>
            </a:pP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type="body" sz="quarter" idx="13"/>
          </p:nvPr>
        </p:nvSpPr>
        <p:spPr>
          <a:xfrm>
            <a:off x="451645" y="199548"/>
            <a:ext cx="6692104" cy="123111"/>
          </a:xfrm>
        </p:spPr>
        <p:txBody>
          <a:bodyPr/>
          <a:lstStyle/>
          <a:p>
            <a:r>
              <a:rPr lang="en-US" noProof="0" dirty="0" smtClean="0"/>
              <a:t>Selenium IDE</a:t>
            </a:r>
            <a:endParaRPr lang="en-US" noProof="0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7291" y="1104428"/>
            <a:ext cx="3510453" cy="337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8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 xsi:nil="true"/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metadata/properties"/>
    <ds:schemaRef ds:uri="727178e8-9586-4f49-8e7b-77af9c2fb085"/>
    <ds:schemaRef ds:uri="http://schemas.microsoft.com/office/infopath/2007/PartnerControls"/>
    <ds:schemaRef ds:uri="http://purl.org/dc/terms/"/>
    <ds:schemaRef ds:uri="e44e039f-c551-4112-981c-456f1b630ef1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199</TotalTime>
  <Words>824</Words>
  <Application>Microsoft Office PowerPoint</Application>
  <PresentationFormat>Pokaz na ekranie (16:9)</PresentationFormat>
  <Paragraphs>192</Paragraphs>
  <Slides>17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GFT_Master_Template</vt:lpstr>
      <vt:lpstr>think-cell Folie</vt:lpstr>
      <vt:lpstr>Introduction to test automation</vt:lpstr>
      <vt:lpstr>Prezentacja programu PowerPoint</vt:lpstr>
      <vt:lpstr>Objective of test automation</vt:lpstr>
      <vt:lpstr>Testing pyramid</vt:lpstr>
      <vt:lpstr>Interacting with web application</vt:lpstr>
      <vt:lpstr>CSS selectors</vt:lpstr>
      <vt:lpstr>XPath selectors</vt:lpstr>
      <vt:lpstr>Exercise</vt:lpstr>
      <vt:lpstr>Introduction</vt:lpstr>
      <vt:lpstr>Opening and verifying page status before the test</vt:lpstr>
      <vt:lpstr>Typing text</vt:lpstr>
      <vt:lpstr>Clicking on elements</vt:lpstr>
      <vt:lpstr>Verifying texts and presence of elements</vt:lpstr>
      <vt:lpstr>Using variables and JavaScript </vt:lpstr>
      <vt:lpstr>Waiting</vt:lpstr>
      <vt:lpstr>Exercise</vt:lpstr>
      <vt:lpstr>Prezentacj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est automation</dc:title>
  <dc:creator>Jacek Okrojek</dc:creator>
  <cp:lastModifiedBy>Jacek Okrojek</cp:lastModifiedBy>
  <cp:revision>29</cp:revision>
  <dcterms:created xsi:type="dcterms:W3CDTF">2015-11-12T20:01:24Z</dcterms:created>
  <dcterms:modified xsi:type="dcterms:W3CDTF">2015-11-12T23:2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